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374" r:id="rId2"/>
    <p:sldId id="375" r:id="rId3"/>
    <p:sldId id="377" r:id="rId4"/>
  </p:sldIdLst>
  <p:sldSz cx="6858000" cy="9906000" type="A4"/>
  <p:notesSz cx="9926638" cy="6797675"/>
  <p:embeddedFontLst>
    <p:embeddedFont>
      <p:font typeface="나눔고딕" panose="020B0600000101010101" charset="-127"/>
      <p:regular r:id="rId7"/>
      <p:bold r:id="rId8"/>
    </p:embeddedFont>
  </p:embeddedFontLst>
  <p:custDataLst>
    <p:tags r:id="rId9"/>
  </p:custDataLst>
  <p:defaultTextStyle>
    <a:defPPr>
      <a:defRPr lang="ko-KR"/>
    </a:defPPr>
    <a:lvl1pPr algn="l" rtl="0" eaLnBrk="0" fontAlgn="base" hangingPunct="0">
      <a:spcBef>
        <a:spcPct val="0"/>
      </a:spcBef>
      <a:spcAft>
        <a:spcPct val="0"/>
      </a:spcAft>
      <a:defRPr kumimoji="1" sz="1400" b="1" kern="1200">
        <a:solidFill>
          <a:schemeClr val="tx1"/>
        </a:solidFill>
        <a:latin typeface="바탕체" panose="02030609000101010101" pitchFamily="17" charset="-127"/>
        <a:ea typeface="바탕체" panose="02030609000101010101" pitchFamily="17" charset="-127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umimoji="1" sz="1400" b="1" kern="1200">
        <a:solidFill>
          <a:schemeClr val="tx1"/>
        </a:solidFill>
        <a:latin typeface="바탕체" panose="02030609000101010101" pitchFamily="17" charset="-127"/>
        <a:ea typeface="바탕체" panose="02030609000101010101" pitchFamily="17" charset="-127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umimoji="1" sz="1400" b="1" kern="1200">
        <a:solidFill>
          <a:schemeClr val="tx1"/>
        </a:solidFill>
        <a:latin typeface="바탕체" panose="02030609000101010101" pitchFamily="17" charset="-127"/>
        <a:ea typeface="바탕체" panose="02030609000101010101" pitchFamily="17" charset="-127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umimoji="1" sz="1400" b="1" kern="1200">
        <a:solidFill>
          <a:schemeClr val="tx1"/>
        </a:solidFill>
        <a:latin typeface="바탕체" panose="02030609000101010101" pitchFamily="17" charset="-127"/>
        <a:ea typeface="바탕체" panose="02030609000101010101" pitchFamily="17" charset="-127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umimoji="1" sz="1400" b="1" kern="1200">
        <a:solidFill>
          <a:schemeClr val="tx1"/>
        </a:solidFill>
        <a:latin typeface="바탕체" panose="02030609000101010101" pitchFamily="17" charset="-127"/>
        <a:ea typeface="바탕체" panose="02030609000101010101" pitchFamily="17" charset="-127"/>
        <a:cs typeface="+mn-cs"/>
      </a:defRPr>
    </a:lvl5pPr>
    <a:lvl6pPr marL="2286000" algn="l" defTabSz="914400" rtl="0" eaLnBrk="1" latinLnBrk="1" hangingPunct="1">
      <a:defRPr kumimoji="1" sz="1400" b="1" kern="1200">
        <a:solidFill>
          <a:schemeClr val="tx1"/>
        </a:solidFill>
        <a:latin typeface="바탕체" panose="02030609000101010101" pitchFamily="17" charset="-127"/>
        <a:ea typeface="바탕체" panose="02030609000101010101" pitchFamily="17" charset="-127"/>
        <a:cs typeface="+mn-cs"/>
      </a:defRPr>
    </a:lvl6pPr>
    <a:lvl7pPr marL="2743200" algn="l" defTabSz="914400" rtl="0" eaLnBrk="1" latinLnBrk="1" hangingPunct="1">
      <a:defRPr kumimoji="1" sz="1400" b="1" kern="1200">
        <a:solidFill>
          <a:schemeClr val="tx1"/>
        </a:solidFill>
        <a:latin typeface="바탕체" panose="02030609000101010101" pitchFamily="17" charset="-127"/>
        <a:ea typeface="바탕체" panose="02030609000101010101" pitchFamily="17" charset="-127"/>
        <a:cs typeface="+mn-cs"/>
      </a:defRPr>
    </a:lvl7pPr>
    <a:lvl8pPr marL="3200400" algn="l" defTabSz="914400" rtl="0" eaLnBrk="1" latinLnBrk="1" hangingPunct="1">
      <a:defRPr kumimoji="1" sz="1400" b="1" kern="1200">
        <a:solidFill>
          <a:schemeClr val="tx1"/>
        </a:solidFill>
        <a:latin typeface="바탕체" panose="02030609000101010101" pitchFamily="17" charset="-127"/>
        <a:ea typeface="바탕체" panose="02030609000101010101" pitchFamily="17" charset="-127"/>
        <a:cs typeface="+mn-cs"/>
      </a:defRPr>
    </a:lvl8pPr>
    <a:lvl9pPr marL="3657600" algn="l" defTabSz="914400" rtl="0" eaLnBrk="1" latinLnBrk="1" hangingPunct="1">
      <a:defRPr kumimoji="1" sz="1400" b="1" kern="1200">
        <a:solidFill>
          <a:schemeClr val="tx1"/>
        </a:solidFill>
        <a:latin typeface="바탕체" panose="02030609000101010101" pitchFamily="17" charset="-127"/>
        <a:ea typeface="바탕체" panose="02030609000101010101" pitchFamily="17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660" userDrawn="1">
          <p15:clr>
            <a:srgbClr val="A4A3A4"/>
          </p15:clr>
        </p15:guide>
        <p15:guide id="2" orient="horz" pos="1051" userDrawn="1">
          <p15:clr>
            <a:srgbClr val="A4A3A4"/>
          </p15:clr>
        </p15:guide>
        <p15:guide id="3" pos="384" userDrawn="1">
          <p15:clr>
            <a:srgbClr val="A4A3A4"/>
          </p15:clr>
        </p15:guide>
        <p15:guide id="4" pos="388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254061"/>
    <a:srgbClr val="CCCCFF"/>
    <a:srgbClr val="9999FF"/>
    <a:srgbClr val="F3F6FF"/>
    <a:srgbClr val="DDDDDD"/>
    <a:srgbClr val="FF9900"/>
    <a:srgbClr val="CCFF33"/>
    <a:srgbClr val="0000FF"/>
    <a:srgbClr val="E1E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54" autoAdjust="0"/>
    <p:restoredTop sz="94660"/>
  </p:normalViewPr>
  <p:slideViewPr>
    <p:cSldViewPr showGuides="1">
      <p:cViewPr varScale="1">
        <p:scale>
          <a:sx n="79" d="100"/>
          <a:sy n="79" d="100"/>
        </p:scale>
        <p:origin x="3306" y="102"/>
      </p:cViewPr>
      <p:guideLst>
        <p:guide orient="horz" pos="5660"/>
        <p:guide orient="horz" pos="1051"/>
        <p:guide pos="384"/>
        <p:guide pos="388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viewProps" Target="viewProps.xml"/><Relationship Id="rId5" Type="http://schemas.openxmlformats.org/officeDocument/2006/relationships/notesMaster" Target="notesMasters/notesMaster1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>
            <a:extLst>
              <a:ext uri="{FF2B5EF4-FFF2-40B4-BE49-F238E27FC236}">
                <a16:creationId xmlns:a16="http://schemas.microsoft.com/office/drawing/2014/main" id="{23FACF2F-60C8-41DA-AE45-36859A47C86C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847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48" tIns="0" rIns="18948" bIns="0" numCol="1" anchor="t" anchorCtr="0" compatLnSpc="1">
            <a:prstTxWarp prst="textNoShape">
              <a:avLst/>
            </a:prstTxWarp>
          </a:bodyPr>
          <a:lstStyle>
            <a:lvl1pPr algn="l" defTabSz="917575">
              <a:defRPr sz="1800" b="0" i="1"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3075" name="Rectangle 3">
            <a:extLst>
              <a:ext uri="{FF2B5EF4-FFF2-40B4-BE49-F238E27FC236}">
                <a16:creationId xmlns:a16="http://schemas.microsoft.com/office/drawing/2014/main" id="{F452492B-39E5-4819-B1D1-411D283FC54B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18163" y="0"/>
            <a:ext cx="430847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48" tIns="0" rIns="18948" bIns="0" numCol="1" anchor="t" anchorCtr="0" compatLnSpc="1">
            <a:prstTxWarp prst="textNoShape">
              <a:avLst/>
            </a:prstTxWarp>
          </a:bodyPr>
          <a:lstStyle>
            <a:lvl1pPr algn="r" defTabSz="917575">
              <a:defRPr sz="1800" b="0" i="1"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3076" name="Rectangle 4">
            <a:extLst>
              <a:ext uri="{FF2B5EF4-FFF2-40B4-BE49-F238E27FC236}">
                <a16:creationId xmlns:a16="http://schemas.microsoft.com/office/drawing/2014/main" id="{706D0217-81EC-4A11-9053-D940FA59BDAA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67475"/>
            <a:ext cx="430847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48" tIns="0" rIns="18948" bIns="0" numCol="1" anchor="b" anchorCtr="0" compatLnSpc="1">
            <a:prstTxWarp prst="textNoShape">
              <a:avLst/>
            </a:prstTxWarp>
          </a:bodyPr>
          <a:lstStyle>
            <a:lvl1pPr algn="l" defTabSz="917575">
              <a:defRPr sz="1800" b="0" i="1"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3077" name="Rectangle 5">
            <a:extLst>
              <a:ext uri="{FF2B5EF4-FFF2-40B4-BE49-F238E27FC236}">
                <a16:creationId xmlns:a16="http://schemas.microsoft.com/office/drawing/2014/main" id="{648B1800-55F6-4F68-A4AF-FCD852CD9D7C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18163" y="6467475"/>
            <a:ext cx="430847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48" tIns="0" rIns="18948" bIns="0" numCol="1" anchor="b" anchorCtr="0" compatLnSpc="1">
            <a:prstTxWarp prst="textNoShape">
              <a:avLst/>
            </a:prstTxWarp>
          </a:bodyPr>
          <a:lstStyle>
            <a:lvl1pPr algn="r" defTabSz="917575">
              <a:defRPr sz="1800" b="0" i="1" smtClean="0"/>
            </a:lvl1pPr>
          </a:lstStyle>
          <a:p>
            <a:pPr>
              <a:defRPr/>
            </a:pPr>
            <a:fld id="{47214511-3446-4200-8CE4-C8164F0B6CCE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>
            <a:extLst>
              <a:ext uri="{FF2B5EF4-FFF2-40B4-BE49-F238E27FC236}">
                <a16:creationId xmlns:a16="http://schemas.microsoft.com/office/drawing/2014/main" id="{668FA190-5EF4-48F3-BC5D-F567F5E41AD4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847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48" tIns="0" rIns="18948" bIns="0" numCol="1" anchor="t" anchorCtr="0" compatLnSpc="1">
            <a:prstTxWarp prst="textNoShape">
              <a:avLst/>
            </a:prstTxWarp>
          </a:bodyPr>
          <a:lstStyle>
            <a:lvl1pPr algn="l" defTabSz="774700" eaLnBrk="1" hangingPunct="1">
              <a:defRPr sz="1800" b="0" i="1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2051" name="Rectangle 3">
            <a:extLst>
              <a:ext uri="{FF2B5EF4-FFF2-40B4-BE49-F238E27FC236}">
                <a16:creationId xmlns:a16="http://schemas.microsoft.com/office/drawing/2014/main" id="{6F6B98BB-B4B4-41C3-900E-A933634F3828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5618163" y="0"/>
            <a:ext cx="430847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48" tIns="0" rIns="18948" bIns="0" numCol="1" anchor="t" anchorCtr="0" compatLnSpc="1">
            <a:prstTxWarp prst="textNoShape">
              <a:avLst/>
            </a:prstTxWarp>
          </a:bodyPr>
          <a:lstStyle>
            <a:lvl1pPr algn="r" defTabSz="774700" eaLnBrk="1" hangingPunct="1">
              <a:defRPr sz="1800" b="0" i="1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2052" name="Rectangle 4">
            <a:extLst>
              <a:ext uri="{FF2B5EF4-FFF2-40B4-BE49-F238E27FC236}">
                <a16:creationId xmlns:a16="http://schemas.microsoft.com/office/drawing/2014/main" id="{C57DE2C7-92E5-4C19-93C4-FB0D6DF51BB2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67475"/>
            <a:ext cx="430847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48" tIns="0" rIns="18948" bIns="0" numCol="1" anchor="b" anchorCtr="0" compatLnSpc="1">
            <a:prstTxWarp prst="textNoShape">
              <a:avLst/>
            </a:prstTxWarp>
          </a:bodyPr>
          <a:lstStyle>
            <a:lvl1pPr algn="l" defTabSz="774700" eaLnBrk="1" hangingPunct="1">
              <a:defRPr sz="1800" b="0" i="1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2053" name="Rectangle 5">
            <a:extLst>
              <a:ext uri="{FF2B5EF4-FFF2-40B4-BE49-F238E27FC236}">
                <a16:creationId xmlns:a16="http://schemas.microsoft.com/office/drawing/2014/main" id="{A0D3265E-D943-4BE7-9B63-477E67E6813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18163" y="6467475"/>
            <a:ext cx="430847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48" tIns="0" rIns="18948" bIns="0" numCol="1" anchor="b" anchorCtr="0" compatLnSpc="1">
            <a:prstTxWarp prst="textNoShape">
              <a:avLst/>
            </a:prstTxWarp>
          </a:bodyPr>
          <a:lstStyle>
            <a:lvl1pPr algn="r" defTabSz="774700" eaLnBrk="1" hangingPunct="1">
              <a:defRPr sz="1800" b="0" i="1" smtClean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4ADC6DD9-70E1-4B31-80F4-C28D96EFEE06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  <p:sp>
        <p:nvSpPr>
          <p:cNvPr id="2054" name="Rectangle 6">
            <a:extLst>
              <a:ext uri="{FF2B5EF4-FFF2-40B4-BE49-F238E27FC236}">
                <a16:creationId xmlns:a16="http://schemas.microsoft.com/office/drawing/2014/main" id="{1B52CBFD-C3EE-447D-A734-A0528E1D3907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308100" y="3233738"/>
            <a:ext cx="7310438" cy="285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41" tIns="45770" rIns="91541" bIns="4577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noProof="0"/>
              <a:t>Click to edit Master text styles</a:t>
            </a:r>
          </a:p>
          <a:p>
            <a:pPr lvl="1"/>
            <a:r>
              <a:rPr lang="en-US" altLang="ko-KR" noProof="0"/>
              <a:t>Second level</a:t>
            </a:r>
          </a:p>
          <a:p>
            <a:pPr lvl="2"/>
            <a:r>
              <a:rPr lang="en-US" altLang="ko-KR" noProof="0"/>
              <a:t>Third level</a:t>
            </a:r>
          </a:p>
          <a:p>
            <a:pPr lvl="3"/>
            <a:r>
              <a:rPr lang="en-US" altLang="ko-KR" noProof="0"/>
              <a:t>Fourth level</a:t>
            </a:r>
          </a:p>
          <a:p>
            <a:pPr lvl="4"/>
            <a:r>
              <a:rPr lang="en-US" altLang="ko-KR" noProof="0"/>
              <a:t>Fifth level</a:t>
            </a:r>
          </a:p>
        </p:txBody>
      </p:sp>
      <p:sp>
        <p:nvSpPr>
          <p:cNvPr id="3079" name="Rectangle 7">
            <a:extLst>
              <a:ext uri="{FF2B5EF4-FFF2-40B4-BE49-F238E27FC236}">
                <a16:creationId xmlns:a16="http://schemas.microsoft.com/office/drawing/2014/main" id="{8B6F25E1-2D51-48B0-AEE6-767109D89F4E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094163" y="519113"/>
            <a:ext cx="1765300" cy="254952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나눔고딕" panose="020D0604000000000000" pitchFamily="50" charset="-127"/>
        <a:ea typeface="나눔고딕" panose="020D0604000000000000" pitchFamily="50" charset="-127"/>
        <a:cs typeface="+mn-cs"/>
        <a:sym typeface="나눔고딕" panose="020D0604000000000000" pitchFamily="50" charset="-127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나눔고딕" panose="020D0604000000000000" pitchFamily="50" charset="-127"/>
        <a:ea typeface="나눔고딕" panose="020D0604000000000000" pitchFamily="50" charset="-127"/>
        <a:cs typeface="+mn-cs"/>
        <a:sym typeface="나눔고딕" panose="020D0604000000000000" pitchFamily="50" charset="-127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나눔고딕" panose="020D0604000000000000" pitchFamily="50" charset="-127"/>
        <a:ea typeface="나눔고딕" panose="020D0604000000000000" pitchFamily="50" charset="-127"/>
        <a:cs typeface="+mn-cs"/>
        <a:sym typeface="나눔고딕" panose="020D0604000000000000" pitchFamily="50" charset="-127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나눔고딕" panose="020D0604000000000000" pitchFamily="50" charset="-127"/>
        <a:ea typeface="나눔고딕" panose="020D0604000000000000" pitchFamily="50" charset="-127"/>
        <a:cs typeface="+mn-cs"/>
        <a:sym typeface="나눔고딕" panose="020D0604000000000000" pitchFamily="50" charset="-127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나눔고딕" panose="020D0604000000000000" pitchFamily="50" charset="-127"/>
        <a:ea typeface="나눔고딕" panose="020D0604000000000000" pitchFamily="50" charset="-127"/>
        <a:cs typeface="+mn-cs"/>
        <a:sym typeface="나눔고딕" panose="020D0604000000000000" pitchFamily="50" charset="-127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>
            <a:extLst>
              <a:ext uri="{FF2B5EF4-FFF2-40B4-BE49-F238E27FC236}">
                <a16:creationId xmlns:a16="http://schemas.microsoft.com/office/drawing/2014/main" id="{E60C597D-090A-4DE1-AA97-1EF7E40ABF1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7" name="Rectangle 3">
            <a:extLst>
              <a:ext uri="{FF2B5EF4-FFF2-40B4-BE49-F238E27FC236}">
                <a16:creationId xmlns:a16="http://schemas.microsoft.com/office/drawing/2014/main" id="{77D069CC-3D8A-4DC0-8345-01A5EB04F2A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>
            <a:extLst>
              <a:ext uri="{FF2B5EF4-FFF2-40B4-BE49-F238E27FC236}">
                <a16:creationId xmlns:a16="http://schemas.microsoft.com/office/drawing/2014/main" id="{3E3EBA11-687D-46FD-9774-75E8DF3F747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Rectangle 3">
            <a:extLst>
              <a:ext uri="{FF2B5EF4-FFF2-40B4-BE49-F238E27FC236}">
                <a16:creationId xmlns:a16="http://schemas.microsoft.com/office/drawing/2014/main" id="{89844ABD-DA84-4771-A7DE-474DAEA0214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>
            <a:extLst>
              <a:ext uri="{FF2B5EF4-FFF2-40B4-BE49-F238E27FC236}">
                <a16:creationId xmlns:a16="http://schemas.microsoft.com/office/drawing/2014/main" id="{3E3EBA11-687D-46FD-9774-75E8DF3F747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Rectangle 3">
            <a:extLst>
              <a:ext uri="{FF2B5EF4-FFF2-40B4-BE49-F238E27FC236}">
                <a16:creationId xmlns:a16="http://schemas.microsoft.com/office/drawing/2014/main" id="{89844ABD-DA84-4771-A7DE-474DAEA0214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744900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C6A32871-6F4C-4C53-A4CF-989551632A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3991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514350" y="3077936"/>
            <a:ext cx="5829300" cy="2122714"/>
          </a:xfrm>
        </p:spPr>
        <p:txBody>
          <a:bodyPr vert="horz"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028700" y="5613401"/>
            <a:ext cx="4800600" cy="2532095"/>
          </a:xfrm>
        </p:spPr>
        <p:txBody>
          <a:bodyPr/>
          <a:lstStyle>
            <a:lvl1pPr marL="0" indent="0" algn="ctr">
              <a:buNone/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ADFA8A99-AB9D-4735-B9CD-5E555F21C01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19CC6F2-F797-41B8-AB8E-CF80F17C224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85ACB662-C9DA-4EF2-AB42-1DE116B0068F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A01FDF1A-ED13-4F23-9F00-914251875938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3960787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E2E3295D-F6C2-4C48-87F8-0F26ABC76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6859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2pPr>
            <a:lvl3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3pPr>
            <a:lvl4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4pPr>
            <a:lvl5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1E1E9759-41ED-4987-B6B5-0F933ADC8AE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79274DA0-E535-4F88-80AB-52DC2793D92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D734CF30-21DD-4746-B5D8-7079BFD92C0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95417F1E-9A90-4EA7-BA3F-FAA5454E9F5A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7919215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FC823DCF-DB56-47A2-A37B-6C9A9E2F81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474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4886326" y="897943"/>
            <a:ext cx="1457325" cy="7786655"/>
          </a:xfrm>
        </p:spPr>
        <p:txBody>
          <a:bodyPr vert="eaVert"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514351" y="897943"/>
            <a:ext cx="4219575" cy="7786655"/>
          </a:xfrm>
        </p:spPr>
        <p:txBody>
          <a:bodyPr vert="eaVert"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2pPr>
            <a:lvl3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3pPr>
            <a:lvl4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4pPr>
            <a:lvl5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B68D0100-125E-4916-A09D-ABDAF13B8B8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9FF3251E-CCCB-4114-BD71-41551FE72F9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7813169F-D180-4BA2-A719-E343770411F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B2C63BED-AB98-49D4-BF1B-A6F8506BA55F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4867704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F2AFC35C-E31C-444B-8AED-D0B9026328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7447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2pPr>
            <a:lvl3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3pPr>
            <a:lvl4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4pPr>
            <a:lvl5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052EDB99-A1D2-47BF-AD35-6818228C94C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BE1FB4A1-D0B3-4400-BF2D-039BD012D628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2477C86E-D105-4E70-B327-DC7A4E48D76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AF8E618A-8565-4CB9-B1E3-6CC46FD66B1E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1644489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046907AA-195B-444E-B3B4-4DEE8F1F78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496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41338" y="6364774"/>
            <a:ext cx="5829300" cy="1967722"/>
          </a:xfrm>
        </p:spPr>
        <p:txBody>
          <a:bodyPr vert="horz" anchor="t"/>
          <a:lstStyle>
            <a:lvl1pPr algn="l">
              <a:defRPr sz="4000" b="1" cap="all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41338" y="4198258"/>
            <a:ext cx="5829300" cy="2166516"/>
          </a:xfrm>
        </p:spPr>
        <p:txBody>
          <a:bodyPr anchor="b"/>
          <a:lstStyle>
            <a:lvl1pPr marL="0" indent="0">
              <a:buNone/>
              <a:defRPr sz="2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CE758894-BF5F-41B3-9B8D-EA7A7EA308A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FDD4348-5ADC-47A1-84E0-707591BBBBA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746C77C0-194B-4616-BEC4-D1C1894389A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5F633BD3-06EF-45FC-92EF-F627A14D752C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7281392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>
            <a:extLst>
              <a:ext uri="{FF2B5EF4-FFF2-40B4-BE49-F238E27FC236}">
                <a16:creationId xmlns:a16="http://schemas.microsoft.com/office/drawing/2014/main" id="{F0C143F2-6C42-46BC-BF11-C1FF4602CF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1997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514350" y="2862295"/>
            <a:ext cx="2838450" cy="5822302"/>
          </a:xfrm>
        </p:spPr>
        <p:txBody>
          <a:bodyPr/>
          <a:lstStyle>
            <a:lvl1pPr>
              <a:defRPr sz="28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>
              <a:defRPr sz="24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2pPr>
            <a:lvl3pPr>
              <a:defRPr sz="2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3pPr>
            <a:lvl4pPr>
              <a:defRPr sz="18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4pPr>
            <a:lvl5pPr>
              <a:defRPr sz="18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3505200" y="2862295"/>
            <a:ext cx="2838450" cy="5822302"/>
          </a:xfrm>
        </p:spPr>
        <p:txBody>
          <a:bodyPr/>
          <a:lstStyle>
            <a:lvl1pPr>
              <a:defRPr sz="28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>
              <a:defRPr sz="24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2pPr>
            <a:lvl3pPr>
              <a:defRPr sz="2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3pPr>
            <a:lvl4pPr>
              <a:defRPr sz="18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4pPr>
            <a:lvl5pPr>
              <a:defRPr sz="18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3BA95190-78DC-4FF3-8B8E-1E2E86AF0F5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7793F7A6-F595-4A6D-B775-89FC0723E80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17BEA558-FD2D-4B50-BABE-9F44BADF300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7DBABC10-7F4E-4396-8F0D-E645B0D3C377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0809593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개체 10" hidden="1">
            <a:extLst>
              <a:ext uri="{FF2B5EF4-FFF2-40B4-BE49-F238E27FC236}">
                <a16:creationId xmlns:a16="http://schemas.microsoft.com/office/drawing/2014/main" id="{E1B4CDF3-DD88-4F3D-ABDB-5C3A0D779A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6223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42900" y="395904"/>
            <a:ext cx="6172200" cy="1651000"/>
          </a:xfrm>
        </p:spPr>
        <p:txBody>
          <a:bodyPr vert="horz"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342900" y="2217057"/>
            <a:ext cx="3030538" cy="924897"/>
          </a:xfrm>
        </p:spPr>
        <p:txBody>
          <a:bodyPr anchor="b"/>
          <a:lstStyle>
            <a:lvl1pPr marL="0" indent="0">
              <a:buNone/>
              <a:defRPr sz="2400" b="1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342900" y="3141955"/>
            <a:ext cx="3030538" cy="5707743"/>
          </a:xfrm>
        </p:spPr>
        <p:txBody>
          <a:bodyPr/>
          <a:lstStyle>
            <a:lvl1pPr>
              <a:defRPr sz="24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>
              <a:defRPr sz="2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2pPr>
            <a:lvl3pPr>
              <a:defRPr sz="18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3pPr>
            <a:lvl4pPr>
              <a:defRPr sz="16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4pPr>
            <a:lvl5pPr>
              <a:defRPr sz="16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3484564" y="2217057"/>
            <a:ext cx="3030537" cy="924897"/>
          </a:xfrm>
        </p:spPr>
        <p:txBody>
          <a:bodyPr anchor="b"/>
          <a:lstStyle>
            <a:lvl1pPr marL="0" indent="0">
              <a:buNone/>
              <a:defRPr sz="2400" b="1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3484564" y="3141955"/>
            <a:ext cx="3030537" cy="5707743"/>
          </a:xfrm>
        </p:spPr>
        <p:txBody>
          <a:bodyPr/>
          <a:lstStyle>
            <a:lvl1pPr>
              <a:defRPr sz="24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>
              <a:defRPr sz="2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2pPr>
            <a:lvl3pPr>
              <a:defRPr sz="18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3pPr>
            <a:lvl4pPr>
              <a:defRPr sz="16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4pPr>
            <a:lvl5pPr>
              <a:defRPr sz="16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371CF9AF-08EC-4655-97A5-EB845370D6F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126EF7D0-5A6A-4CE6-A0F6-B0707E2EF85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6BF3701E-983C-4ADF-86AF-1D3C2A5C039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BA112325-90EF-4D77-BBD1-0162EA90219E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1239229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A1E75E4A-0B4B-4BEE-AB07-C7869E9A5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370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B55CE2F-47F3-4E3E-BF35-8C5134E2E94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7A7296E-8F94-46AF-8050-347D0EBE162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5615621-A994-4517-82F2-51AE1B96523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951567F1-4652-42EF-8EEB-ABC6D12ED612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986822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>
            <a:extLst>
              <a:ext uri="{FF2B5EF4-FFF2-40B4-BE49-F238E27FC236}">
                <a16:creationId xmlns:a16="http://schemas.microsoft.com/office/drawing/2014/main" id="{9142AB32-EB14-42B0-9A82-3B30220C32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4065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89">
            <a:extLst>
              <a:ext uri="{FF2B5EF4-FFF2-40B4-BE49-F238E27FC236}">
                <a16:creationId xmlns:a16="http://schemas.microsoft.com/office/drawing/2014/main" id="{AC1E5096-C8E5-4B41-9909-366C014A99C7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115889" y="138146"/>
          <a:ext cx="661987" cy="220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Photo Editor 사진" r:id="rId6" imgW="7849696" imgH="2467319" progId="MSPhotoEd.3">
                  <p:embed/>
                </p:oleObj>
              </mc:Choice>
              <mc:Fallback>
                <p:oleObj name="Photo Editor 사진" r:id="rId6" imgW="7849696" imgH="2467319" progId="MSPhotoEd.3">
                  <p:embed/>
                  <p:pic>
                    <p:nvPicPr>
                      <p:cNvPr id="2050" name="Object 89">
                        <a:extLst>
                          <a:ext uri="{FF2B5EF4-FFF2-40B4-BE49-F238E27FC236}">
                            <a16:creationId xmlns:a16="http://schemas.microsoft.com/office/drawing/2014/main" id="{EDC67957-5D4A-4603-A5BF-8489D341395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5889" y="138146"/>
                        <a:ext cx="661987" cy="220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7B162104-3E35-4F3F-B1FA-9CC43DEF663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4EF9C07-1BB3-4828-9749-EEAEDACCC91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144F821-BE48-4C7A-83E5-580C3BD55DE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F9FDCF9E-3EB8-4940-90E2-FF6C16FAD5E8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1866226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>
            <a:extLst>
              <a:ext uri="{FF2B5EF4-FFF2-40B4-BE49-F238E27FC236}">
                <a16:creationId xmlns:a16="http://schemas.microsoft.com/office/drawing/2014/main" id="{D659C343-0978-4B55-AD60-DCAE8884F8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5018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42900" y="394218"/>
            <a:ext cx="2255838" cy="1677955"/>
          </a:xfrm>
        </p:spPr>
        <p:txBody>
          <a:bodyPr vert="horz" anchor="b"/>
          <a:lstStyle>
            <a:lvl1pPr algn="l">
              <a:defRPr sz="2000" b="1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681288" y="394219"/>
            <a:ext cx="3833812" cy="8455479"/>
          </a:xfrm>
        </p:spPr>
        <p:txBody>
          <a:bodyPr/>
          <a:lstStyle>
            <a:lvl1pPr>
              <a:defRPr sz="32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>
              <a:defRPr sz="28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2pPr>
            <a:lvl3pPr>
              <a:defRPr sz="24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3pPr>
            <a:lvl4pPr>
              <a:defRPr sz="2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4pPr>
            <a:lvl5pPr>
              <a:defRPr sz="2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342900" y="2072174"/>
            <a:ext cx="2255838" cy="6777524"/>
          </a:xfrm>
        </p:spPr>
        <p:txBody>
          <a:bodyPr/>
          <a:lstStyle>
            <a:lvl1pPr marL="0" indent="0">
              <a:buNone/>
              <a:defRPr sz="14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869DEE53-A4CB-4CDA-ACB3-AFA155EACF5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E083433C-864F-4F29-BF3E-7C9DA561620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CA4B5EC6-F68D-4F5D-88D4-B48BE62E216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EFCD2703-98D2-40F1-8014-DBF33627D570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9436317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>
            <a:extLst>
              <a:ext uri="{FF2B5EF4-FFF2-40B4-BE49-F238E27FC236}">
                <a16:creationId xmlns:a16="http://schemas.microsoft.com/office/drawing/2014/main" id="{58D333A9-3EC2-448A-87EA-862531966E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8526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344613" y="6934201"/>
            <a:ext cx="4114800" cy="818761"/>
          </a:xfrm>
        </p:spPr>
        <p:txBody>
          <a:bodyPr vert="horz" anchor="b"/>
          <a:lstStyle>
            <a:lvl1pPr algn="l">
              <a:defRPr sz="2000" b="1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344613" y="884465"/>
            <a:ext cx="4114800" cy="59436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344613" y="7752962"/>
            <a:ext cx="4114800" cy="1162439"/>
          </a:xfrm>
        </p:spPr>
        <p:txBody>
          <a:bodyPr/>
          <a:lstStyle>
            <a:lvl1pPr marL="0" indent="0">
              <a:buNone/>
              <a:defRPr sz="14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8DEB6F16-6D38-450D-9C6D-D8F7299834B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5067C6A1-FB33-4E91-93FA-934639BDC8D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29CD1106-9A78-4C8F-A4F8-0F839952A7B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A1F86C89-8564-4803-9D1E-94434CFCA6D2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6083360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0652C124-CA2B-4A98-BC87-D5D403C522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53940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347" imgH="348" progId="TCLayout.ActiveDocument.1">
                  <p:embed/>
                </p:oleObj>
              </mc:Choice>
              <mc:Fallback>
                <p:oleObj name="think-cell Slide" r:id="rId1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>
            <a:extLst>
              <a:ext uri="{FF2B5EF4-FFF2-40B4-BE49-F238E27FC236}">
                <a16:creationId xmlns:a16="http://schemas.microsoft.com/office/drawing/2014/main" id="{0A06DCB0-21BA-4FC6-A267-E0E0466DF742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33400" y="8996265"/>
            <a:ext cx="1371600" cy="727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b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BD8B9511-824A-44CC-BC7D-76906B8C3573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62200" y="8996265"/>
            <a:ext cx="2133600" cy="727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b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028" name="Rectangle 4">
            <a:extLst>
              <a:ext uri="{FF2B5EF4-FFF2-40B4-BE49-F238E27FC236}">
                <a16:creationId xmlns:a16="http://schemas.microsoft.com/office/drawing/2014/main" id="{2EFE1FDB-5048-40D3-A817-47078FA154B2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953000" y="8996265"/>
            <a:ext cx="1371600" cy="727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b="0" smtClean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847F814A-DBE5-41CB-A0AE-C2126791F917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  <p:sp>
        <p:nvSpPr>
          <p:cNvPr id="1029" name="Rectangle 5">
            <a:extLst>
              <a:ext uri="{FF2B5EF4-FFF2-40B4-BE49-F238E27FC236}">
                <a16:creationId xmlns:a16="http://schemas.microsoft.com/office/drawing/2014/main" id="{335F2495-16D8-4F3A-A582-D5F0704D4FD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14350" y="897942"/>
            <a:ext cx="5829300" cy="1617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/>
              <a:t>Click to edit Master title style</a:t>
            </a:r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69FB88E1-E9E1-46B0-B543-BFA1453F5AF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2862295"/>
            <a:ext cx="5829300" cy="5822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0" r:id="rId4"/>
    <p:sldLayoutId id="2147484001" r:id="rId5"/>
    <p:sldLayoutId id="2147484002" r:id="rId6"/>
    <p:sldLayoutId id="2147484007" r:id="rId7"/>
    <p:sldLayoutId id="2147484003" r:id="rId8"/>
    <p:sldLayoutId id="2147484004" r:id="rId9"/>
    <p:sldLayoutId id="2147484005" r:id="rId10"/>
    <p:sldLayoutId id="2147484006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나눔고딕" panose="020D0604000000000000" pitchFamily="50" charset="-127"/>
          <a:ea typeface="나눔고딕" panose="020D0604000000000000" pitchFamily="50" charset="-127"/>
          <a:cs typeface="+mj-cs"/>
          <a:sym typeface="나눔고딕" panose="020D0604000000000000" pitchFamily="50" charset="-127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돋움체" pitchFamily="49" charset="-127"/>
          <a:ea typeface="돋움체" pitchFamily="49" charset="-127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돋움체" pitchFamily="49" charset="-127"/>
          <a:ea typeface="돋움체" pitchFamily="49" charset="-127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돋움체" pitchFamily="49" charset="-127"/>
          <a:ea typeface="돋움체" pitchFamily="49" charset="-127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돋움체" pitchFamily="49" charset="-127"/>
          <a:ea typeface="돋움체" pitchFamily="49" charset="-127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돋움체" pitchFamily="49" charset="-127"/>
          <a:ea typeface="돋움체" pitchFamily="49" charset="-127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돋움체" pitchFamily="49" charset="-127"/>
          <a:ea typeface="돋움체" pitchFamily="49" charset="-127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돋움체" pitchFamily="49" charset="-127"/>
          <a:ea typeface="돋움체" pitchFamily="49" charset="-127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돋움체" pitchFamily="49" charset="-127"/>
          <a:ea typeface="돋움체" pitchFamily="49" charset="-127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SzPct val="75000"/>
        <a:buFont typeface="Symbol" panose="05050102010706020507" pitchFamily="18" charset="2"/>
        <a:buChar char="·"/>
        <a:defRPr kumimoji="1" sz="3200">
          <a:solidFill>
            <a:schemeClr val="tx1"/>
          </a:solidFill>
          <a:latin typeface="나눔고딕" panose="020D0604000000000000" pitchFamily="50" charset="-127"/>
          <a:ea typeface="나눔고딕" panose="020D0604000000000000" pitchFamily="50" charset="-127"/>
          <a:cs typeface="+mn-cs"/>
          <a:sym typeface="나눔고딕" panose="020D0604000000000000" pitchFamily="50" charset="-127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SzPct val="75000"/>
        <a:buFont typeface="Symbol" panose="05050102010706020507" pitchFamily="18" charset="2"/>
        <a:buChar char="-"/>
        <a:defRPr kumimoji="1" sz="2800">
          <a:solidFill>
            <a:schemeClr val="tx1"/>
          </a:solidFill>
          <a:latin typeface="나눔고딕" panose="020D0604000000000000" pitchFamily="50" charset="-127"/>
          <a:ea typeface="나눔고딕" panose="020D0604000000000000" pitchFamily="50" charset="-127"/>
          <a:sym typeface="나눔고딕" panose="020D0604000000000000" pitchFamily="50" charset="-127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SzPct val="85000"/>
        <a:buFont typeface="Symbol" panose="05050102010706020507" pitchFamily="18" charset="2"/>
        <a:buChar char="·"/>
        <a:defRPr kumimoji="1" sz="2400">
          <a:solidFill>
            <a:schemeClr val="tx1"/>
          </a:solidFill>
          <a:latin typeface="나눔고딕" panose="020D0604000000000000" pitchFamily="50" charset="-127"/>
          <a:ea typeface="나눔고딕" panose="020D0604000000000000" pitchFamily="50" charset="-127"/>
          <a:sym typeface="나눔고딕" panose="020D0604000000000000" pitchFamily="50" charset="-127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SzPct val="75000"/>
        <a:buFont typeface="Symbol" panose="05050102010706020507" pitchFamily="18" charset="2"/>
        <a:buChar char="-"/>
        <a:defRPr kumimoji="1" sz="2000">
          <a:solidFill>
            <a:schemeClr val="tx1"/>
          </a:solidFill>
          <a:latin typeface="나눔고딕" panose="020D0604000000000000" pitchFamily="50" charset="-127"/>
          <a:ea typeface="나눔고딕" panose="020D0604000000000000" pitchFamily="50" charset="-127"/>
          <a:sym typeface="나눔고딕" panose="020D0604000000000000" pitchFamily="50" charset="-127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SzPct val="75000"/>
        <a:buFont typeface="Symbol" panose="05050102010706020507" pitchFamily="18" charset="2"/>
        <a:buChar char="·"/>
        <a:defRPr kumimoji="1" sz="2000">
          <a:solidFill>
            <a:schemeClr val="tx1"/>
          </a:solidFill>
          <a:latin typeface="나눔고딕" panose="020D0604000000000000" pitchFamily="50" charset="-127"/>
          <a:ea typeface="나눔고딕" panose="020D0604000000000000" pitchFamily="50" charset="-127"/>
          <a:sym typeface="나눔고딕" panose="020D0604000000000000" pitchFamily="50" charset="-127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SzPct val="75000"/>
        <a:buFont typeface="Symbol" pitchFamily="18" charset="2"/>
        <a:buChar char="·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SzPct val="75000"/>
        <a:buFont typeface="Symbol" pitchFamily="18" charset="2"/>
        <a:buChar char="·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SzPct val="75000"/>
        <a:buFont typeface="Symbol" pitchFamily="18" charset="2"/>
        <a:buChar char="·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SzPct val="75000"/>
        <a:buFont typeface="Symbol" pitchFamily="18" charset="2"/>
        <a:buChar char="·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F5512B7D-DA9E-4819-8DF6-DED1ABCD7D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2" name="개체 1" hidden="1">
                        <a:extLst>
                          <a:ext uri="{FF2B5EF4-FFF2-40B4-BE49-F238E27FC236}">
                            <a16:creationId xmlns:a16="http://schemas.microsoft.com/office/drawing/2014/main" id="{F5512B7D-DA9E-4819-8DF6-DED1ABCD7D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>
            <a:extLst>
              <a:ext uri="{FF2B5EF4-FFF2-40B4-BE49-F238E27FC236}">
                <a16:creationId xmlns:a16="http://schemas.microsoft.com/office/drawing/2014/main" id="{592E681F-CE2A-454E-9511-B9BFBD2689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47875" y="272480"/>
            <a:ext cx="2762250" cy="39528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>
            <a:lvl1pPr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32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1pPr>
            <a:lvl2pPr marL="742950" indent="-285750"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8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2pPr>
            <a:lvl3pPr marL="1143000" indent="-228600" defTabSz="762000">
              <a:spcBef>
                <a:spcPct val="20000"/>
              </a:spcBef>
              <a:buSzPct val="85000"/>
              <a:buFont typeface="Symbol" panose="05050102010706020507" pitchFamily="18" charset="2"/>
              <a:buChar char="·"/>
              <a:defRPr kumimoji="1" sz="24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3pPr>
            <a:lvl4pPr marL="1600200" indent="-228600"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4pPr>
            <a:lvl5pPr marL="2057400" indent="-228600"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ko-KR" altLang="en-US" sz="2000" dirty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입 사 지 원 서</a:t>
            </a:r>
          </a:p>
        </p:txBody>
      </p:sp>
      <p:graphicFrame>
        <p:nvGraphicFramePr>
          <p:cNvPr id="1295" name="Group 271">
            <a:extLst>
              <a:ext uri="{FF2B5EF4-FFF2-40B4-BE49-F238E27FC236}">
                <a16:creationId xmlns:a16="http://schemas.microsoft.com/office/drawing/2014/main" id="{42FDD388-2130-4048-9A3F-2C670AB71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4447284"/>
              </p:ext>
            </p:extLst>
          </p:nvPr>
        </p:nvGraphicFramePr>
        <p:xfrm>
          <a:off x="23486" y="992560"/>
          <a:ext cx="6801803" cy="8439752"/>
        </p:xfrm>
        <a:graphic>
          <a:graphicData uri="http://schemas.openxmlformats.org/drawingml/2006/table">
            <a:tbl>
              <a:tblPr/>
              <a:tblGrid>
                <a:gridCol w="3524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556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32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52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7147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1596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5242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5435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318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4008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86360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</a:tblGrid>
              <a:tr h="395315">
                <a:tc rowSpan="4"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4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성명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(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한글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)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gridSpan="4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성명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(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영문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)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 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5315">
                <a:tc gridSpan="2" vMerge="1"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연락처</a:t>
                      </a:r>
                    </a:p>
                  </a:txBody>
                  <a:tcPr marL="57154" marR="57154" marT="45727" marB="45727" anchor="ctr" horzOverflow="overflow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gridSpan="4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핸 </a:t>
                      </a: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드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 폰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5315">
                <a:tc gridSpan="2" vMerge="1"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생년월일</a:t>
                      </a:r>
                    </a:p>
                  </a:txBody>
                  <a:tcPr marL="57154" marR="57154" marT="45727" marB="45727" anchor="ctr" horzOverflow="overflow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gridSpan="4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E-mail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5315">
                <a:tc gridSpan="2" vMerge="1"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주소</a:t>
                      </a:r>
                    </a:p>
                  </a:txBody>
                  <a:tcPr marL="57154" marR="57154" marT="45727" marB="45727" anchor="ctr" horzOverflow="overflow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gridSpan="9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657">
                <a:tc gridSpan="1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                        학    력    사    항 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(※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고교 이후 학력사항 기재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)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0842"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기  간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구분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gridSpan="4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학교명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gridSpan="3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전공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학점</a:t>
                      </a:r>
                      <a:endParaRPr lang="ko-KR" altLang="en-US"/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학점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졸업구분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5793"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-</a:t>
                      </a:r>
                      <a:endParaRPr lang="ko-KR" altLang="en-US" dirty="0"/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5793"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3.27/4.5</a:t>
                      </a:r>
                      <a:endParaRPr lang="ko-KR" altLang="en-US"/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5793"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3.5/4.5</a:t>
                      </a:r>
                      <a:endParaRPr lang="ko-KR" altLang="en-US" dirty="0"/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2234">
                <a:tc gridSpan="2"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3.8/4.5</a:t>
                      </a:r>
                      <a:endParaRPr lang="ko-KR" altLang="en-US"/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1530529"/>
                  </a:ext>
                </a:extLst>
              </a:tr>
              <a:tr h="244492">
                <a:tc row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어</a:t>
                      </a:r>
                    </a:p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학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구 분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회화능력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gridSpan="3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공인점수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Test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명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/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기관명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평가일자</a:t>
                      </a:r>
                      <a:endParaRPr lang="ko-KR" altLang="en-US"/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평가일자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ko-KR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2008.02</a:t>
                      </a:r>
                      <a:endParaRPr lang="ko-KR" altLang="en-US" dirty="0"/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 rowSpan="5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자격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/</a:t>
                      </a:r>
                    </a:p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면허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명칭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발행처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gridSpan="3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일자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5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수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상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경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력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rowSpan="2" gridSpan="3">
                  <a:txBody>
                    <a:bodyPr/>
                    <a:lstStyle/>
                    <a:p>
                      <a:pPr algn="ctr" latinLnBrk="1"/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명칭</a:t>
                      </a:r>
                      <a:endParaRPr lang="ko-KR" altLang="en-US" dirty="0"/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수상처</a:t>
                      </a:r>
                      <a:endParaRPr lang="ko-KR" altLang="en-US" dirty="0"/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일자</a:t>
                      </a:r>
                      <a:endParaRPr lang="ko-KR" altLang="en-US" dirty="0"/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row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pPr algn="ctr" latinLnBrk="1"/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국회의원 표창</a:t>
                      </a:r>
                      <a:b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</a:b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업무유공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)</a:t>
                      </a:r>
                      <a:endParaRPr lang="ko-KR" altLang="en-US" dirty="0"/>
                    </a:p>
                  </a:txBody>
                  <a:tcPr marL="57154" marR="57154" marT="45727" marB="45727" anchor="ctr" horzOverflow="overflow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1" hangingPunct="1"/>
                      <a:r>
                        <a:rPr kumimoji="1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국회</a:t>
                      </a:r>
                    </a:p>
                  </a:txBody>
                  <a:tcPr marL="57154" marR="57154" marT="45727" marB="45727" anchor="ctr" horzOverflow="overflow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r>
                        <a:rPr kumimoji="1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21</a:t>
                      </a:r>
                      <a:endParaRPr kumimoji="1" lang="ko-KR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40642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 v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latinLnBrk="1"/>
                      <a:endParaRPr lang="ko-KR" altLang="en-US" dirty="0"/>
                    </a:p>
                  </a:txBody>
                  <a:tcPr marL="57154" marR="57154" marT="45727" marB="45727" anchor="ctr" horzOverflow="overflow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kumimoji="1" lang="ko-KR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kumimoji="1" lang="ko-KR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5979386"/>
                  </a:ext>
                </a:extLst>
              </a:tr>
              <a:tr h="365793">
                <a:tc vMerge="1"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latinLnBrk="1"/>
                      <a:endParaRPr kumimoji="1" lang="ko-KR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57154" marR="57154" marT="45727" marB="45727" anchor="ctr" horzOverflow="overflow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1" hangingPunct="1"/>
                      <a:endParaRPr kumimoji="1" lang="ko-KR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kumimoji="1" lang="ko-KR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22641">
                <a:tc vMerge="1"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latinLnBrk="1"/>
                      <a:endParaRPr kumimoji="1" lang="ko-KR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57154" marR="57154" marT="45727" marB="45727" anchor="ctr" horzOverflow="overflow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360387">
                <a:tc row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병</a:t>
                      </a:r>
                    </a:p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역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구  분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군별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계급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gridSpan="4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복무기간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기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타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취미</a:t>
                      </a:r>
                      <a:endParaRPr lang="ko-KR" altLang="en-US" dirty="0"/>
                    </a:p>
                  </a:txBody>
                  <a:tcPr marL="57154" marR="57154" marT="45727" marB="45727" anchor="ctr" horzOverflow="overflow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특기</a:t>
                      </a:r>
                      <a:endParaRPr lang="ko-KR" altLang="en-US" dirty="0"/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365793">
                <a:tc vMerge="1"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ko-KR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57154" marR="57154" marT="45727" marB="45727" anchor="ctr" horzOverflow="overflow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ko-KR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74657">
                <a:tc gridSpan="1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           주 요 경 력 사 항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47667"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회사명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근무기간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근무부서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직위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담당업무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360387"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360387"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360387">
                <a:tc gridSpan="2"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1262720"/>
                  </a:ext>
                </a:extLst>
              </a:tr>
              <a:tr h="360387"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360387">
                <a:tc gridSpan="2"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983348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1F41D1C6-E911-406E-8140-49D9173FBA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825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76" name="Group 28">
            <a:extLst>
              <a:ext uri="{FF2B5EF4-FFF2-40B4-BE49-F238E27FC236}">
                <a16:creationId xmlns:a16="http://schemas.microsoft.com/office/drawing/2014/main" id="{703F2778-7996-4F46-9C98-FC52755D82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9341642"/>
              </p:ext>
            </p:extLst>
          </p:nvPr>
        </p:nvGraphicFramePr>
        <p:xfrm>
          <a:off x="161789" y="1568624"/>
          <a:ext cx="6553471" cy="6061804"/>
        </p:xfrm>
        <a:graphic>
          <a:graphicData uri="http://schemas.openxmlformats.org/drawingml/2006/table">
            <a:tbl>
              <a:tblPr/>
              <a:tblGrid>
                <a:gridCol w="65534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4000"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762000" rtl="0" eaLnBrk="0" fontAlgn="base" latinLnBrk="0" hangingPunct="0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1. KMAC</a:t>
                      </a: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에 지원한 이유는 무엇입니까</a:t>
                      </a: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?</a:t>
                      </a: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60" marR="57160" marT="45718" marB="4571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7208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.  </a:t>
                      </a:r>
                      <a:r>
                        <a:rPr kumimoji="1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 </a:t>
                      </a:r>
                      <a:endParaRPr kumimoji="1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610" marR="57160" marT="57600" marB="576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0350"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2. KMAC</a:t>
                      </a: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에서 이루고 싶은 꿈은 무엇입니까</a:t>
                      </a: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?</a:t>
                      </a:r>
                    </a:p>
                  </a:txBody>
                  <a:tcPr marL="57160" marR="57160" marT="45718" marB="4571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7882"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 </a:t>
                      </a:r>
                    </a:p>
                  </a:txBody>
                  <a:tcPr marL="57160" marR="57160" marT="57600" marB="576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6024"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3. </a:t>
                      </a: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지원부서를 선택한 이유와 본인이 갖춘 역량은 무엇입니까</a:t>
                      </a: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?</a:t>
                      </a: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60" marR="57160" marT="45718" marB="4571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8841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60" marR="57160" marT="57600" marB="576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194" name="Rectangle 2068">
            <a:extLst>
              <a:ext uri="{FF2B5EF4-FFF2-40B4-BE49-F238E27FC236}">
                <a16:creationId xmlns:a16="http://schemas.microsoft.com/office/drawing/2014/main" id="{1E12E94D-BDB1-4610-930B-75B18B098A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0814" y="9232900"/>
            <a:ext cx="475138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32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1pPr>
            <a:lvl2pPr marL="742950" indent="-28575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8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2pPr>
            <a:lvl3pPr marL="1143000" indent="-228600">
              <a:spcBef>
                <a:spcPct val="20000"/>
              </a:spcBef>
              <a:buSzPct val="85000"/>
              <a:buFont typeface="Symbol" panose="05050102010706020507" pitchFamily="18" charset="2"/>
              <a:buChar char="·"/>
              <a:defRPr kumimoji="1" sz="24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3pPr>
            <a:lvl4pPr marL="1600200" indent="-22860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4pPr>
            <a:lvl5pPr marL="2057400" indent="-228600"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9pPr>
          </a:lstStyle>
          <a:p>
            <a:pPr eaLnBrk="1" latinLnBrk="1" hangingPunct="1">
              <a:spcBef>
                <a:spcPct val="0"/>
              </a:spcBef>
              <a:buSzTx/>
              <a:buFontTx/>
              <a:buNone/>
            </a:pPr>
            <a:r>
              <a:rPr lang="ko-KR" altLang="en-US" sz="1000" dirty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상기 모든 기재사항은 사실과 다름없음을 확인합니다</a:t>
            </a:r>
            <a:r>
              <a:rPr lang="en-US" altLang="ko-KR" sz="1000" dirty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.</a:t>
            </a:r>
          </a:p>
          <a:p>
            <a:pPr>
              <a:spcBef>
                <a:spcPct val="0"/>
              </a:spcBef>
              <a:buSzTx/>
              <a:buFontTx/>
              <a:buNone/>
            </a:pPr>
            <a:r>
              <a:rPr lang="ko-KR" altLang="en-US" sz="1000" dirty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작성일자 </a:t>
            </a:r>
            <a:r>
              <a:rPr lang="en-US" altLang="ko-KR" sz="1000" dirty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:   2022</a:t>
            </a:r>
            <a:r>
              <a:rPr lang="ko-KR" altLang="en-US" sz="1000" dirty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년    월    일작성자 </a:t>
            </a:r>
            <a:r>
              <a:rPr lang="en-US" altLang="ko-KR" sz="1000" dirty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: (</a:t>
            </a:r>
            <a:r>
              <a:rPr lang="ko-KR" altLang="en-US" sz="1000" dirty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인</a:t>
            </a:r>
            <a:r>
              <a:rPr lang="en-US" altLang="ko-KR" sz="1000" dirty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)</a:t>
            </a:r>
            <a:endParaRPr lang="ko-KR" altLang="en-US" sz="1000" dirty="0">
              <a:latin typeface="나눔고딕" panose="020D0604000000000000" pitchFamily="50" charset="-127"/>
              <a:ea typeface="나눔고딕" panose="020D0604000000000000" pitchFamily="50" charset="-127"/>
              <a:sym typeface="나눔고딕" panose="020D0604000000000000" pitchFamily="50" charset="-127"/>
            </a:endParaRPr>
          </a:p>
        </p:txBody>
      </p:sp>
      <p:sp>
        <p:nvSpPr>
          <p:cNvPr id="7195" name="Rectangle 2">
            <a:extLst>
              <a:ext uri="{FF2B5EF4-FFF2-40B4-BE49-F238E27FC236}">
                <a16:creationId xmlns:a16="http://schemas.microsoft.com/office/drawing/2014/main" id="{C1D91B75-EF3B-4C94-B4AA-1144B3E5BE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7400" y="428625"/>
            <a:ext cx="2762250" cy="39528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>
            <a:lvl1pPr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32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1pPr>
            <a:lvl2pPr marL="742950" indent="-285750"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8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2pPr>
            <a:lvl3pPr marL="1143000" indent="-228600" defTabSz="762000">
              <a:spcBef>
                <a:spcPct val="20000"/>
              </a:spcBef>
              <a:buSzPct val="85000"/>
              <a:buFont typeface="Symbol" panose="05050102010706020507" pitchFamily="18" charset="2"/>
              <a:buChar char="·"/>
              <a:defRPr kumimoji="1" sz="24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3pPr>
            <a:lvl4pPr marL="1600200" indent="-228600"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4pPr>
            <a:lvl5pPr marL="2057400" indent="-228600"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ko-KR" altLang="en-US" sz="2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자기소개서</a:t>
            </a:r>
          </a:p>
        </p:txBody>
      </p:sp>
      <p:sp>
        <p:nvSpPr>
          <p:cNvPr id="7196" name="Rectangle 2068">
            <a:extLst>
              <a:ext uri="{FF2B5EF4-FFF2-40B4-BE49-F238E27FC236}">
                <a16:creationId xmlns:a16="http://schemas.microsoft.com/office/drawing/2014/main" id="{5872833F-DAA1-4790-9818-DFE182674E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50" y="1027113"/>
            <a:ext cx="6400800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32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1pPr>
            <a:lvl2pPr marL="742950" indent="-28575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8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2pPr>
            <a:lvl3pPr marL="1143000" indent="-228600">
              <a:spcBef>
                <a:spcPct val="20000"/>
              </a:spcBef>
              <a:buSzPct val="85000"/>
              <a:buFont typeface="Symbol" panose="05050102010706020507" pitchFamily="18" charset="2"/>
              <a:buChar char="·"/>
              <a:defRPr kumimoji="1" sz="24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3pPr>
            <a:lvl4pPr marL="1600200" indent="-22860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4pPr>
            <a:lvl5pPr marL="2057400" indent="-228600"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9pPr>
          </a:lstStyle>
          <a:p>
            <a:pPr eaLnBrk="1" latinLnBrk="1" hangingPunct="1">
              <a:spcBef>
                <a:spcPct val="0"/>
              </a:spcBef>
              <a:buSzTx/>
              <a:buFontTx/>
              <a:buNone/>
            </a:pPr>
            <a:r>
              <a:rPr lang="en-US" altLang="ko-KR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※ </a:t>
            </a:r>
            <a:r>
              <a:rPr lang="ko-KR" altLang="en-US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칸 부족시</a:t>
            </a:r>
            <a:r>
              <a:rPr lang="en-US" altLang="ko-KR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, </a:t>
            </a:r>
            <a:r>
              <a:rPr lang="ko-KR" altLang="en-US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다음장에 추가하여 입력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1F41D1C6-E911-406E-8140-49D9173FBA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2" name="개체 1" hidden="1">
                        <a:extLst>
                          <a:ext uri="{FF2B5EF4-FFF2-40B4-BE49-F238E27FC236}">
                            <a16:creationId xmlns:a16="http://schemas.microsoft.com/office/drawing/2014/main" id="{1F41D1C6-E911-406E-8140-49D9173FBA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76" name="Group 28">
            <a:extLst>
              <a:ext uri="{FF2B5EF4-FFF2-40B4-BE49-F238E27FC236}">
                <a16:creationId xmlns:a16="http://schemas.microsoft.com/office/drawing/2014/main" id="{703F2778-7996-4F46-9C98-FC52755D82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5544413"/>
              </p:ext>
            </p:extLst>
          </p:nvPr>
        </p:nvGraphicFramePr>
        <p:xfrm>
          <a:off x="115889" y="1419864"/>
          <a:ext cx="6626225" cy="6543254"/>
        </p:xfrm>
        <a:graphic>
          <a:graphicData uri="http://schemas.openxmlformats.org/drawingml/2006/table">
            <a:tbl>
              <a:tblPr/>
              <a:tblGrid>
                <a:gridCol w="66262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4. </a:t>
                      </a: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학교나 직장 생활에서 드러내고 싶은 경험이나 성과는 무엇입니까</a:t>
                      </a: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?</a:t>
                      </a: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60" marR="57160" marT="45718" marB="4571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3212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 </a:t>
                      </a:r>
                    </a:p>
                  </a:txBody>
                  <a:tcPr marL="57610" marR="57160" marT="57600" marB="576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5. </a:t>
                      </a: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본인은 어떤 사람인지 기술하여 주시기 바랍니다</a:t>
                      </a: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.</a:t>
                      </a:r>
                    </a:p>
                  </a:txBody>
                  <a:tcPr marL="57160" marR="57160" marT="45718" marB="4571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44216"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60" marR="57160" marT="57600" marB="576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6024"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6. </a:t>
                      </a:r>
                      <a:r>
                        <a:rPr kumimoji="1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추가로 작성하고 싶은 사항이 있다면 자유롭게 기재하여 주시기 바랍니다</a:t>
                      </a:r>
                      <a:r>
                        <a:rPr kumimoji="1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.</a:t>
                      </a:r>
                      <a:endParaRPr kumimoji="1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60" marR="57160" marT="45718" marB="4571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6073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  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60" marR="57160" marT="57600" marB="576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195" name="Rectangle 2">
            <a:extLst>
              <a:ext uri="{FF2B5EF4-FFF2-40B4-BE49-F238E27FC236}">
                <a16:creationId xmlns:a16="http://schemas.microsoft.com/office/drawing/2014/main" id="{C1D91B75-EF3B-4C94-B4AA-1144B3E5BE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7400" y="428625"/>
            <a:ext cx="2762250" cy="39528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>
            <a:lvl1pPr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32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1pPr>
            <a:lvl2pPr marL="742950" indent="-285750"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8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2pPr>
            <a:lvl3pPr marL="1143000" indent="-228600" defTabSz="762000">
              <a:spcBef>
                <a:spcPct val="20000"/>
              </a:spcBef>
              <a:buSzPct val="85000"/>
              <a:buFont typeface="Symbol" panose="05050102010706020507" pitchFamily="18" charset="2"/>
              <a:buChar char="·"/>
              <a:defRPr kumimoji="1" sz="24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3pPr>
            <a:lvl4pPr marL="1600200" indent="-228600"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4pPr>
            <a:lvl5pPr marL="2057400" indent="-228600"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ko-KR" altLang="en-US" sz="2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자기소개서</a:t>
            </a:r>
          </a:p>
        </p:txBody>
      </p:sp>
      <p:sp>
        <p:nvSpPr>
          <p:cNvPr id="7196" name="Rectangle 2068">
            <a:extLst>
              <a:ext uri="{FF2B5EF4-FFF2-40B4-BE49-F238E27FC236}">
                <a16:creationId xmlns:a16="http://schemas.microsoft.com/office/drawing/2014/main" id="{5872833F-DAA1-4790-9818-DFE182674E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50" y="1027113"/>
            <a:ext cx="6400800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32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1pPr>
            <a:lvl2pPr marL="742950" indent="-28575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8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2pPr>
            <a:lvl3pPr marL="1143000" indent="-228600">
              <a:spcBef>
                <a:spcPct val="20000"/>
              </a:spcBef>
              <a:buSzPct val="85000"/>
              <a:buFont typeface="Symbol" panose="05050102010706020507" pitchFamily="18" charset="2"/>
              <a:buChar char="·"/>
              <a:defRPr kumimoji="1" sz="24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3pPr>
            <a:lvl4pPr marL="1600200" indent="-22860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4pPr>
            <a:lvl5pPr marL="2057400" indent="-228600"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9pPr>
          </a:lstStyle>
          <a:p>
            <a:pPr eaLnBrk="1" latinLnBrk="1" hangingPunct="1">
              <a:spcBef>
                <a:spcPct val="0"/>
              </a:spcBef>
              <a:buSzTx/>
              <a:buFontTx/>
              <a:buNone/>
            </a:pPr>
            <a:r>
              <a:rPr lang="en-US" altLang="ko-KR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※ </a:t>
            </a:r>
            <a:r>
              <a:rPr lang="ko-KR" altLang="en-US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칸 부족시</a:t>
            </a:r>
            <a:r>
              <a:rPr lang="en-US" altLang="ko-KR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, </a:t>
            </a:r>
            <a:r>
              <a:rPr lang="ko-KR" altLang="en-US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다음장에 추가하여 입력</a:t>
            </a:r>
          </a:p>
        </p:txBody>
      </p:sp>
      <p:sp>
        <p:nvSpPr>
          <p:cNvPr id="7" name="Rectangle 2068">
            <a:extLst>
              <a:ext uri="{FF2B5EF4-FFF2-40B4-BE49-F238E27FC236}">
                <a16:creationId xmlns:a16="http://schemas.microsoft.com/office/drawing/2014/main" id="{5D4012CA-DB3E-440F-B695-4525E8C804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0814" y="9232900"/>
            <a:ext cx="475138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32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1pPr>
            <a:lvl2pPr marL="742950" indent="-28575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8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2pPr>
            <a:lvl3pPr marL="1143000" indent="-228600">
              <a:spcBef>
                <a:spcPct val="20000"/>
              </a:spcBef>
              <a:buSzPct val="85000"/>
              <a:buFont typeface="Symbol" panose="05050102010706020507" pitchFamily="18" charset="2"/>
              <a:buChar char="·"/>
              <a:defRPr kumimoji="1" sz="24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3pPr>
            <a:lvl4pPr marL="1600200" indent="-22860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4pPr>
            <a:lvl5pPr marL="2057400" indent="-228600"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9pPr>
          </a:lstStyle>
          <a:p>
            <a:pPr eaLnBrk="1" latinLnBrk="1" hangingPunct="1">
              <a:spcBef>
                <a:spcPct val="0"/>
              </a:spcBef>
              <a:buSzTx/>
              <a:buFontTx/>
              <a:buNone/>
            </a:pPr>
            <a:r>
              <a:rPr lang="ko-KR" altLang="en-US" sz="1000" dirty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상기 모든 기재사항은 사실과 다름없음을 확인합니다</a:t>
            </a:r>
            <a:r>
              <a:rPr lang="en-US" altLang="ko-KR" sz="1000" dirty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.</a:t>
            </a:r>
          </a:p>
          <a:p>
            <a:pPr>
              <a:spcBef>
                <a:spcPct val="0"/>
              </a:spcBef>
              <a:buSzTx/>
              <a:buFontTx/>
              <a:buNone/>
            </a:pPr>
            <a:r>
              <a:rPr lang="ko-KR" altLang="en-US" sz="1000" dirty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작성일자 </a:t>
            </a:r>
            <a:r>
              <a:rPr lang="en-US" altLang="ko-KR" sz="1000" dirty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:   2022</a:t>
            </a:r>
            <a:r>
              <a:rPr lang="ko-KR" altLang="en-US" sz="1000" dirty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년    월  </a:t>
            </a:r>
            <a:r>
              <a:rPr lang="en-US" altLang="ko-KR" sz="1000" dirty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   </a:t>
            </a:r>
            <a:r>
              <a:rPr lang="ko-KR" altLang="en-US" sz="1000" dirty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일            작성자 </a:t>
            </a:r>
            <a:r>
              <a:rPr lang="en-US" altLang="ko-KR" sz="1000" dirty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: (</a:t>
            </a:r>
            <a:r>
              <a:rPr lang="ko-KR" altLang="en-US" sz="1000" dirty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인</a:t>
            </a:r>
            <a:r>
              <a:rPr lang="en-US" altLang="ko-KR" sz="1000" dirty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)</a:t>
            </a:r>
            <a:endParaRPr lang="ko-KR" altLang="en-US" sz="1000" dirty="0">
              <a:latin typeface="나눔고딕" panose="020D0604000000000000" pitchFamily="50" charset="-127"/>
              <a:ea typeface="나눔고딕" panose="020D0604000000000000" pitchFamily="50" charset="-127"/>
              <a:sym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793173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default">
      <a:majorFont>
        <a:latin typeface="돋움체"/>
        <a:ea typeface="돋움체"/>
        <a:cs typeface=""/>
      </a:majorFont>
      <a:minorFont>
        <a:latin typeface="바탕체"/>
        <a:ea typeface="바탕체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바탕체" pitchFamily="17" charset="-127"/>
            <a:ea typeface="바탕체" pitchFamily="17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바탕체" pitchFamily="17" charset="-127"/>
            <a:ea typeface="바탕체" pitchFamily="17" charset="-127"/>
          </a:defRPr>
        </a:defPPr>
      </a:lstStyle>
    </a:lnDef>
    <a:txDef>
      <a:spPr>
        <a:noFill/>
      </a:spPr>
      <a:bodyPr wrap="square" lIns="36000" tIns="36000" rIns="36000" bIns="36000" rtlCol="0" anchor="ctr" anchorCtr="1">
        <a:normAutofit/>
      </a:bodyPr>
      <a:lstStyle>
        <a:defPPr>
          <a:defRPr dirty="0"/>
        </a:defPPr>
      </a:lstStyle>
    </a:tx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:\windows\msoffice\powerpnt\default.ppt</Template>
  <TotalTime>3610</TotalTime>
  <Pages>1</Pages>
  <Words>199</Words>
  <Application>Microsoft Office PowerPoint</Application>
  <PresentationFormat>A4 용지(210x297mm)</PresentationFormat>
  <Paragraphs>69</Paragraphs>
  <Slides>3</Slides>
  <Notes>3</Notes>
  <HiddenSlides>0</HiddenSlides>
  <MMClips>0</MMClips>
  <ScaleCrop>false</ScaleCrop>
  <HeadingPairs>
    <vt:vector size="8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2</vt:i4>
      </vt:variant>
      <vt:variant>
        <vt:lpstr>슬라이드 제목</vt:lpstr>
      </vt:variant>
      <vt:variant>
        <vt:i4>3</vt:i4>
      </vt:variant>
    </vt:vector>
  </HeadingPairs>
  <TitlesOfParts>
    <vt:vector size="10" baseType="lpstr">
      <vt:lpstr>나눔고딕</vt:lpstr>
      <vt:lpstr>돋움체</vt:lpstr>
      <vt:lpstr>Symbol</vt:lpstr>
      <vt:lpstr>바탕체</vt:lpstr>
      <vt:lpstr>default</vt:lpstr>
      <vt:lpstr>think-cell Slide</vt:lpstr>
      <vt:lpstr>Photo Editor 사진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제목 없음</dc:title>
  <dc:creator>마지용</dc:creator>
  <cp:lastModifiedBy>user</cp:lastModifiedBy>
  <cp:revision>638</cp:revision>
  <cp:lastPrinted>2017-08-21T04:51:55Z</cp:lastPrinted>
  <dcterms:created xsi:type="dcterms:W3CDTF">1996-10-25T13:40:16Z</dcterms:created>
  <dcterms:modified xsi:type="dcterms:W3CDTF">2023-06-28T05:17:46Z</dcterms:modified>
</cp:coreProperties>
</file>